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</p:sldMasterIdLst>
  <p:notesMasterIdLst>
    <p:notesMasterId r:id="rId3"/>
  </p:notesMasterIdLst>
  <p:handoutMasterIdLst>
    <p:handoutMasterId r:id="rId4"/>
  </p:handoutMasterIdLst>
  <p:sldIdLst>
    <p:sldId id="277" r:id="rId2"/>
  </p:sldIdLst>
  <p:sldSz cx="9144000" cy="6858000" type="screen4x3"/>
  <p:notesSz cx="6935788" cy="9220200"/>
  <p:custDataLst>
    <p:tags r:id="rId5"/>
  </p:custDataLst>
  <p:defaultTextStyle>
    <a:defPPr>
      <a:defRPr lang="en-US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2200" kern="1200">
        <a:solidFill>
          <a:schemeClr val="hlink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2200" kern="1200">
        <a:solidFill>
          <a:schemeClr val="hlink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2200" kern="1200">
        <a:solidFill>
          <a:schemeClr val="hlink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2200" kern="1200">
        <a:solidFill>
          <a:schemeClr val="hlink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2200" kern="1200">
        <a:solidFill>
          <a:schemeClr val="hlink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200" kern="1200">
        <a:solidFill>
          <a:schemeClr val="hlink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200" kern="1200">
        <a:solidFill>
          <a:schemeClr val="hlink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200" kern="1200">
        <a:solidFill>
          <a:schemeClr val="hlink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200" kern="1200">
        <a:solidFill>
          <a:schemeClr val="hlink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2D7FE"/>
    <a:srgbClr val="A1ACFD"/>
    <a:srgbClr val="000099"/>
    <a:srgbClr val="0000CC"/>
    <a:srgbClr val="FF0000"/>
    <a:srgbClr val="EAEAEA"/>
    <a:srgbClr val="5F5F5F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00" autoAdjust="0"/>
    <p:restoredTop sz="99269" autoAdjust="0"/>
  </p:normalViewPr>
  <p:slideViewPr>
    <p:cSldViewPr snapToGrid="0">
      <p:cViewPr>
        <p:scale>
          <a:sx n="74" d="100"/>
          <a:sy n="74" d="100"/>
        </p:scale>
        <p:origin x="-960" y="-89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0672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2" rIns="92702" bIns="46352" numCol="1" anchor="t" anchorCtr="0" compatLnSpc="1">
            <a:prstTxWarp prst="textNoShape">
              <a:avLst/>
            </a:prstTxWarp>
          </a:bodyPr>
          <a:lstStyle>
            <a:lvl1pPr defTabSz="927100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27475" y="0"/>
            <a:ext cx="300672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2" rIns="92702" bIns="46352" numCol="1" anchor="t" anchorCtr="0" compatLnSpc="1">
            <a:prstTxWarp prst="textNoShape">
              <a:avLst/>
            </a:prstTxWarp>
          </a:bodyPr>
          <a:lstStyle>
            <a:lvl1pPr algn="r" defTabSz="927100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8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56650"/>
            <a:ext cx="300672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2" rIns="92702" bIns="46352" numCol="1" anchor="b" anchorCtr="0" compatLnSpc="1">
            <a:prstTxWarp prst="textNoShape">
              <a:avLst/>
            </a:prstTxWarp>
          </a:bodyPr>
          <a:lstStyle>
            <a:lvl1pPr defTabSz="927100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8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27475" y="8756650"/>
            <a:ext cx="300672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2" rIns="92702" bIns="46352" numCol="1" anchor="b" anchorCtr="0" compatLnSpc="1">
            <a:prstTxWarp prst="textNoShape">
              <a:avLst/>
            </a:prstTxWarp>
          </a:bodyPr>
          <a:lstStyle>
            <a:lvl1pPr algn="r" defTabSz="927100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fld id="{8DC1257E-FBBC-4990-90A2-4F0FDB2B757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28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0672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2" rIns="92702" bIns="46352" numCol="1" anchor="t" anchorCtr="0" compatLnSpc="1">
            <a:prstTxWarp prst="textNoShape">
              <a:avLst/>
            </a:prstTxWarp>
          </a:bodyPr>
          <a:lstStyle>
            <a:lvl1pPr defTabSz="927100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27475" y="0"/>
            <a:ext cx="300672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2" rIns="92702" bIns="46352" numCol="1" anchor="t" anchorCtr="0" compatLnSpc="1">
            <a:prstTxWarp prst="textNoShape">
              <a:avLst/>
            </a:prstTxWarp>
          </a:bodyPr>
          <a:lstStyle>
            <a:lvl1pPr algn="r" defTabSz="927100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5225" y="692150"/>
            <a:ext cx="4608513" cy="3455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3738" y="4379913"/>
            <a:ext cx="5548312" cy="414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2" rIns="92702" bIns="463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56650"/>
            <a:ext cx="300672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2" rIns="92702" bIns="46352" numCol="1" anchor="b" anchorCtr="0" compatLnSpc="1">
            <a:prstTxWarp prst="textNoShape">
              <a:avLst/>
            </a:prstTxWarp>
          </a:bodyPr>
          <a:lstStyle>
            <a:lvl1pPr defTabSz="927100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27475" y="8756650"/>
            <a:ext cx="300672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702" tIns="46352" rIns="92702" bIns="46352" numCol="1" anchor="b" anchorCtr="0" compatLnSpc="1">
            <a:prstTxWarp prst="textNoShape">
              <a:avLst/>
            </a:prstTxWarp>
          </a:bodyPr>
          <a:lstStyle>
            <a:lvl1pPr algn="r" defTabSz="927100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fld id="{98BC32C2-47EE-4597-9480-E5B3E83C4C3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389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8624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8"/>
          <p:cNvSpPr>
            <a:spLocks noChangeArrowheads="1"/>
          </p:cNvSpPr>
          <p:nvPr/>
        </p:nvSpPr>
        <p:spPr bwMode="auto">
          <a:xfrm>
            <a:off x="0" y="0"/>
            <a:ext cx="9144000" cy="841375"/>
          </a:xfrm>
          <a:prstGeom prst="rect">
            <a:avLst/>
          </a:prstGeom>
          <a:solidFill>
            <a:srgbClr val="17237B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hangingPunct="0">
              <a:lnSpc>
                <a:spcPct val="100000"/>
              </a:lnSpc>
              <a:defRPr/>
            </a:pPr>
            <a:endParaRPr lang="en-US" sz="2400">
              <a:solidFill>
                <a:schemeClr val="tx1"/>
              </a:solidFill>
              <a:latin typeface="Times" pitchFamily="18" charset="0"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9pPr>
    </p:titleStyle>
    <p:bodyStyle>
      <a:lvl1pPr marL="173038" indent="-173038" algn="l" rtl="0" eaLnBrk="1" fontAlgn="base" hangingPunct="1">
        <a:lnSpc>
          <a:spcPct val="150000"/>
        </a:lnSpc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Ø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09588" indent="-163513" algn="l" rtl="0" eaLnBrk="1" fontAlgn="base" hangingPunct="1">
        <a:lnSpc>
          <a:spcPct val="150000"/>
        </a:lnSpc>
        <a:spcBef>
          <a:spcPct val="0"/>
        </a:spcBef>
        <a:spcAft>
          <a:spcPct val="0"/>
        </a:spcAft>
        <a:buClr>
          <a:schemeClr val="tx1"/>
        </a:buClr>
        <a:buFont typeface="Courier New" pitchFamily="49" charset="0"/>
        <a:buChar char="o"/>
        <a:defRPr sz="2400">
          <a:solidFill>
            <a:schemeClr val="tx1"/>
          </a:solidFill>
          <a:latin typeface="+mn-lt"/>
        </a:defRPr>
      </a:lvl2pPr>
      <a:lvl3pPr marL="855663" indent="-173038" algn="l" rtl="0" eaLnBrk="1" fontAlgn="base" hangingPunct="1">
        <a:lnSpc>
          <a:spcPct val="150000"/>
        </a:lnSpc>
        <a:spcBef>
          <a:spcPct val="0"/>
        </a:spcBef>
        <a:spcAft>
          <a:spcPct val="0"/>
        </a:spcAft>
        <a:buClr>
          <a:schemeClr val="tx1"/>
        </a:buClr>
        <a:buChar char="•"/>
        <a:defRPr sz="2400">
          <a:solidFill>
            <a:schemeClr val="tx1"/>
          </a:solidFill>
          <a:latin typeface="+mn-lt"/>
        </a:defRPr>
      </a:lvl3pPr>
      <a:lvl4pPr marL="1203325" indent="-173038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defRPr sz="1600">
          <a:solidFill>
            <a:schemeClr val="bg1"/>
          </a:solidFill>
          <a:latin typeface="+mn-lt"/>
        </a:defRPr>
      </a:lvl4pPr>
      <a:lvl5pPr marL="15398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</a:defRPr>
      </a:lvl5pPr>
      <a:lvl6pPr marL="19970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</a:defRPr>
      </a:lvl6pPr>
      <a:lvl7pPr marL="24542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</a:defRPr>
      </a:lvl7pPr>
      <a:lvl8pPr marL="29114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</a:defRPr>
      </a:lvl8pPr>
      <a:lvl9pPr marL="3368675" indent="-16351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grosnuag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7544" y="1427264"/>
            <a:ext cx="2004244" cy="1422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4796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MTOOLS" val="&lt;WMTools ver=&quot;1.0&quot;&gt;&lt;Timings&gt;&lt;Slide id=&quot;257&quot; dur=&quot;1.332&quot;/&gt;&lt;/Timings&gt;&lt;/WMTools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LeD4F3b0iWwfYnIeHdyg"/>
</p:tagLst>
</file>

<file path=ppt/theme/theme1.xml><?xml version="1.0" encoding="utf-8"?>
<a:theme xmlns:a="http://schemas.openxmlformats.org/drawingml/2006/main" name="cloud">
  <a:themeElements>
    <a:clrScheme name="10 September 2009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889FB"/>
      </a:accent1>
      <a:accent2>
        <a:srgbClr val="009999"/>
      </a:accent2>
      <a:accent3>
        <a:srgbClr val="FFFFFF"/>
      </a:accent3>
      <a:accent4>
        <a:srgbClr val="000000"/>
      </a:accent4>
      <a:accent5>
        <a:srgbClr val="BEC4FD"/>
      </a:accent5>
      <a:accent6>
        <a:srgbClr val="008A8A"/>
      </a:accent6>
      <a:hlink>
        <a:srgbClr val="7889FB"/>
      </a:hlink>
      <a:folHlink>
        <a:srgbClr val="9900CC"/>
      </a:folHlink>
    </a:clrScheme>
    <a:fontScheme name="10 September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0 September 200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889FB"/>
        </a:accent1>
        <a:accent2>
          <a:srgbClr val="009999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008A8A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oud</Template>
  <TotalTime>721</TotalTime>
  <Words>0</Words>
  <Application>Microsoft Office PowerPoint</Application>
  <PresentationFormat>On-screen Show (4:3)</PresentationFormat>
  <Paragraphs>0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cloud</vt:lpstr>
      <vt:lpstr>PowerPoint Presentation</vt:lpstr>
    </vt:vector>
  </TitlesOfParts>
  <Manager>Sam Lin, Palisades, New York</Manager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onardHand</dc:creator>
  <cp:lastModifiedBy>IBM_ADMIN</cp:lastModifiedBy>
  <cp:revision>49</cp:revision>
  <dcterms:created xsi:type="dcterms:W3CDTF">2011-03-09T19:44:47Z</dcterms:created>
  <dcterms:modified xsi:type="dcterms:W3CDTF">2012-02-04T06:52:12Z</dcterms:modified>
</cp:coreProperties>
</file>